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</p:sldMasterIdLst>
  <p:notesMasterIdLst>
    <p:notesMasterId r:id="rId4"/>
  </p:notesMasterIdLst>
  <p:sldIdLst>
    <p:sldId id="442" r:id="rId2"/>
    <p:sldId id="443" r:id="rId3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MetaPlusLF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MetaPlusLF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MetaPlusLF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MetaPlusLF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MetaPlusLF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MetaPlusLF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MetaPlusLF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MetaPlusLF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MetaPlusLF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974" autoAdjust="0"/>
    <p:restoredTop sz="94660"/>
  </p:normalViewPr>
  <p:slideViewPr>
    <p:cSldViewPr snapToGrid="0">
      <p:cViewPr varScale="1">
        <p:scale>
          <a:sx n="82" d="100"/>
          <a:sy n="82" d="100"/>
        </p:scale>
        <p:origin x="821" y="77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8B3EC-DA1C-426E-B265-707DBA6C3F41}" type="datetimeFigureOut">
              <a:rPr lang="de-DE" smtClean="0"/>
              <a:t>13.11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227AC9-BE19-40BF-B3D7-9260AAFE032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604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2000" y="1746000"/>
            <a:ext cx="8636400" cy="360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2000" y="2246400"/>
            <a:ext cx="8636400" cy="1752600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8BE854-7E13-4F9C-A7E7-3CB6376C6C02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8BE854-7E13-4F9C-A7E7-3CB6376C6C02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2000" y="4406900"/>
            <a:ext cx="8636400" cy="360000"/>
          </a:xfrm>
        </p:spPr>
        <p:txBody>
          <a:bodyPr anchor="t"/>
          <a:lstStyle>
            <a:lvl1pPr algn="l">
              <a:defRPr sz="2100" b="1" cap="all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000" y="2906713"/>
            <a:ext cx="8636400" cy="1500187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36EDC-6B08-425B-83A2-1EE82851AC6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2000" y="2116800"/>
            <a:ext cx="4158000" cy="44892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199" y="2116800"/>
            <a:ext cx="4238625" cy="44892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63CC10-D9D2-49C5-BEAA-EFF08BBD7B1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000" y="2105024"/>
            <a:ext cx="4237200" cy="428337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52000" y="2534400"/>
            <a:ext cx="4237200" cy="4068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4" y="2114550"/>
            <a:ext cx="4237200" cy="418812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4" y="2534400"/>
            <a:ext cx="4237200" cy="4068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B1ABE8-C9B9-445B-86BE-36FA4293D3E2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41F925-D698-40BE-AEA3-88E4BC337338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2ECF07-73EF-4672-9FB7-7AA13FCB0A73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2000" y="1746000"/>
            <a:ext cx="3008313" cy="3600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64000" y="1746001"/>
            <a:ext cx="5324400" cy="48708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2000" y="2105025"/>
            <a:ext cx="3008313" cy="451177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89B605-6AEF-452A-8F72-A25B4F8D2B6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2000" y="5450400"/>
            <a:ext cx="8636400" cy="36000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2000" y="1746000"/>
            <a:ext cx="8636400" cy="3704400"/>
          </a:xfrm>
        </p:spPr>
        <p:txBody>
          <a:bodyPr rtlCol="0">
            <a:no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2000" y="5810400"/>
            <a:ext cx="86364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3E224-14F1-4C75-A07D-23772BFBB0E7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86442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252413" y="1746250"/>
            <a:ext cx="863600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en-GB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252413" y="2246313"/>
            <a:ext cx="8636000" cy="437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smtClean="0"/>
          </a:p>
        </p:txBody>
      </p:sp>
      <p:sp>
        <p:nvSpPr>
          <p:cNvPr id="6" name="FESTO_NUMMERN" hidden="1"/>
          <p:cNvSpPr>
            <a:spLocks noGrp="1"/>
          </p:cNvSpPr>
          <p:nvPr>
            <p:ph type="sldNum" sz="quarter" idx="4"/>
          </p:nvPr>
        </p:nvSpPr>
        <p:spPr>
          <a:xfrm>
            <a:off x="8834438" y="6727825"/>
            <a:ext cx="125412" cy="9048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500" smtClean="0">
                <a:solidFill>
                  <a:schemeClr val="tx1"/>
                </a:solidFill>
                <a:latin typeface="MetaPlusLF" pitchFamily="2" charset="0"/>
              </a:defRPr>
            </a:lvl1pPr>
          </a:lstStyle>
          <a:p>
            <a:pPr>
              <a:defRPr/>
            </a:pPr>
            <a:fld id="{F68BE854-7E13-4F9C-A7E7-3CB6376C6C0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grpSp>
        <p:nvGrpSpPr>
          <p:cNvPr id="1029" name="Group 5"/>
          <p:cNvGrpSpPr>
            <a:grpSpLocks/>
          </p:cNvGrpSpPr>
          <p:nvPr/>
        </p:nvGrpSpPr>
        <p:grpSpPr bwMode="auto">
          <a:xfrm>
            <a:off x="179388" y="1654175"/>
            <a:ext cx="8780462" cy="71438"/>
            <a:chOff x="95" y="865"/>
            <a:chExt cx="5569" cy="95"/>
          </a:xfrm>
        </p:grpSpPr>
        <p:sp>
          <p:nvSpPr>
            <p:cNvPr id="8" name="Line 6"/>
            <p:cNvSpPr>
              <a:spLocks noChangeShapeType="1"/>
            </p:cNvSpPr>
            <p:nvPr userDrawn="1"/>
          </p:nvSpPr>
          <p:spPr bwMode="auto">
            <a:xfrm>
              <a:off x="95" y="865"/>
              <a:ext cx="0" cy="95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9" name="Line 7"/>
            <p:cNvSpPr>
              <a:spLocks noChangeShapeType="1"/>
            </p:cNvSpPr>
            <p:nvPr userDrawn="1"/>
          </p:nvSpPr>
          <p:spPr bwMode="auto">
            <a:xfrm>
              <a:off x="5664" y="865"/>
              <a:ext cx="0" cy="95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10" name="Line 8"/>
            <p:cNvSpPr>
              <a:spLocks noChangeShapeType="1"/>
            </p:cNvSpPr>
            <p:nvPr userDrawn="1"/>
          </p:nvSpPr>
          <p:spPr bwMode="auto">
            <a:xfrm>
              <a:off x="96" y="865"/>
              <a:ext cx="5568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</p:grpSp>
      <p:grpSp>
        <p:nvGrpSpPr>
          <p:cNvPr id="1030" name="Group 10"/>
          <p:cNvGrpSpPr>
            <a:grpSpLocks/>
          </p:cNvGrpSpPr>
          <p:nvPr/>
        </p:nvGrpSpPr>
        <p:grpSpPr bwMode="auto">
          <a:xfrm flipV="1">
            <a:off x="179388" y="6621463"/>
            <a:ext cx="8780462" cy="71437"/>
            <a:chOff x="95" y="865"/>
            <a:chExt cx="5569" cy="95"/>
          </a:xfrm>
        </p:grpSpPr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95" y="865"/>
              <a:ext cx="0" cy="95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>
              <a:off x="5664" y="865"/>
              <a:ext cx="0" cy="95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>
              <a:off x="96" y="865"/>
              <a:ext cx="5568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</p:grpSp>
      <p:pic>
        <p:nvPicPr>
          <p:cNvPr id="1031" name="Picture 9" descr="Logo060rgb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880350" y="1258888"/>
            <a:ext cx="10826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FESTO_NAME"/>
          <p:cNvSpPr txBox="1"/>
          <p:nvPr/>
        </p:nvSpPr>
        <p:spPr>
          <a:xfrm>
            <a:off x="190500" y="6731000"/>
            <a:ext cx="1439863" cy="90488"/>
          </a:xfrm>
          <a:prstGeom prst="rect">
            <a:avLst/>
          </a:prstGeom>
          <a:noFill/>
        </p:spPr>
        <p:txBody>
          <a:bodyPr lIns="3600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500" dirty="0">
              <a:latin typeface="MetaPlusLF" pitchFamily="2" charset="0"/>
            </a:endParaRPr>
          </a:p>
        </p:txBody>
      </p:sp>
      <p:sp>
        <p:nvSpPr>
          <p:cNvPr id="17" name="FESTO_TITEL"/>
          <p:cNvSpPr txBox="1"/>
          <p:nvPr/>
        </p:nvSpPr>
        <p:spPr>
          <a:xfrm>
            <a:off x="2108200" y="6731000"/>
            <a:ext cx="1439863" cy="90488"/>
          </a:xfrm>
          <a:prstGeom prst="rect">
            <a:avLst/>
          </a:prstGeom>
          <a:noFill/>
        </p:spPr>
        <p:txBody>
          <a:bodyPr lIns="3600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500" dirty="0">
              <a:latin typeface="MetaPlusLF" pitchFamily="2" charset="0"/>
            </a:endParaRPr>
          </a:p>
        </p:txBody>
      </p:sp>
      <p:sp>
        <p:nvSpPr>
          <p:cNvPr id="18" name="FESTO_ERSTELLT"/>
          <p:cNvSpPr txBox="1"/>
          <p:nvPr userDrawn="1"/>
        </p:nvSpPr>
        <p:spPr>
          <a:xfrm>
            <a:off x="4737100" y="6731000"/>
            <a:ext cx="720725" cy="90488"/>
          </a:xfrm>
          <a:prstGeom prst="rect">
            <a:avLst/>
          </a:prstGeom>
          <a:noFill/>
        </p:spPr>
        <p:txBody>
          <a:bodyPr lIns="3600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500" dirty="0" smtClean="0">
                <a:latin typeface="MetaPlusLF" pitchFamily="2" charset="0"/>
              </a:rPr>
              <a:t> </a:t>
            </a:r>
            <a:endParaRPr lang="de-DE" sz="500" dirty="0">
              <a:latin typeface="MetaPlusLF" pitchFamily="2" charset="0"/>
            </a:endParaRPr>
          </a:p>
        </p:txBody>
      </p:sp>
      <p:sp>
        <p:nvSpPr>
          <p:cNvPr id="19" name="FESTO_GEAENDERT"/>
          <p:cNvSpPr txBox="1"/>
          <p:nvPr/>
        </p:nvSpPr>
        <p:spPr>
          <a:xfrm>
            <a:off x="5511800" y="6731000"/>
            <a:ext cx="1439863" cy="90488"/>
          </a:xfrm>
          <a:prstGeom prst="rect">
            <a:avLst/>
          </a:prstGeom>
          <a:noFill/>
        </p:spPr>
        <p:txBody>
          <a:bodyPr lIns="3600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500" dirty="0">
              <a:latin typeface="MetaPlusLF" pitchFamily="2" charset="0"/>
            </a:endParaRPr>
          </a:p>
        </p:txBody>
      </p:sp>
      <p:sp>
        <p:nvSpPr>
          <p:cNvPr id="20" name="FESTO_STATUS" hidden="1"/>
          <p:cNvSpPr txBox="1"/>
          <p:nvPr/>
        </p:nvSpPr>
        <p:spPr>
          <a:xfrm>
            <a:off x="7086600" y="6731000"/>
            <a:ext cx="90488" cy="9048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500">
              <a:latin typeface="MetaPlusLF" pitchFamily="2" charset="0"/>
            </a:endParaRPr>
          </a:p>
        </p:txBody>
      </p:sp>
      <p:sp>
        <p:nvSpPr>
          <p:cNvPr id="21" name="FESTO_STATUS1" hidden="1"/>
          <p:cNvSpPr txBox="1"/>
          <p:nvPr/>
        </p:nvSpPr>
        <p:spPr>
          <a:xfrm>
            <a:off x="7175500" y="6731000"/>
            <a:ext cx="612775" cy="904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500" dirty="0" smtClean="0">
                <a:latin typeface="MetaPlusLF" pitchFamily="2" charset="0"/>
              </a:rPr>
              <a:t> </a:t>
            </a:r>
            <a:endParaRPr lang="de-DE" sz="500" dirty="0">
              <a:latin typeface="MetaPlusLF" pitchFamily="2" charset="0"/>
            </a:endParaRPr>
          </a:p>
        </p:txBody>
      </p:sp>
      <p:sp>
        <p:nvSpPr>
          <p:cNvPr id="22" name="FESTO_VERTRAULICH" hidden="1"/>
          <p:cNvSpPr txBox="1"/>
          <p:nvPr/>
        </p:nvSpPr>
        <p:spPr>
          <a:xfrm>
            <a:off x="7886700" y="6731000"/>
            <a:ext cx="90488" cy="9048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500">
              <a:latin typeface="MetaPlusLF" pitchFamily="2" charset="0"/>
            </a:endParaRPr>
          </a:p>
        </p:txBody>
      </p:sp>
      <p:sp>
        <p:nvSpPr>
          <p:cNvPr id="23" name="FESTO_VERTRAULICH1" hidden="1"/>
          <p:cNvSpPr txBox="1"/>
          <p:nvPr/>
        </p:nvSpPr>
        <p:spPr>
          <a:xfrm>
            <a:off x="7975600" y="6731000"/>
            <a:ext cx="612775" cy="9048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lIns="3600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500" dirty="0" smtClean="0">
                <a:latin typeface="MetaPlusLF" pitchFamily="2" charset="0"/>
              </a:rPr>
              <a:t> </a:t>
            </a:r>
            <a:endParaRPr lang="de-DE" sz="500" dirty="0">
              <a:latin typeface="MetaPlusLF" pitchFamily="2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MetaPlusLF" pitchFamily="2" charset="0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MetaPlusLF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MetaPlusLF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MetaPlusLF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MetaPlusLF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MetaPlusLF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MetaPlusLF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MetaPlusLF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MetaPlusLF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Rechteck 173"/>
          <p:cNvSpPr/>
          <p:nvPr/>
        </p:nvSpPr>
        <p:spPr>
          <a:xfrm>
            <a:off x="-181923" y="0"/>
            <a:ext cx="9325923" cy="3470988"/>
          </a:xfrm>
          <a:prstGeom prst="rect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295988" y="410065"/>
            <a:ext cx="8588932" cy="655308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 smtClean="0">
                <a:solidFill>
                  <a:schemeClr val="bg1"/>
                </a:solidFill>
              </a:rPr>
              <a:t>Festo Global Service Desk  / </a:t>
            </a:r>
            <a:r>
              <a:rPr lang="de-DE" sz="3200" dirty="0" err="1" smtClean="0">
                <a:solidFill>
                  <a:schemeClr val="bg1"/>
                </a:solidFill>
              </a:rPr>
              <a:t>current</a:t>
            </a:r>
            <a:r>
              <a:rPr lang="de-DE" sz="3200" dirty="0" smtClean="0">
                <a:solidFill>
                  <a:schemeClr val="bg1"/>
                </a:solidFill>
              </a:rPr>
              <a:t> </a:t>
            </a:r>
            <a:r>
              <a:rPr lang="de-DE" sz="3200" dirty="0" err="1" smtClean="0">
                <a:solidFill>
                  <a:schemeClr val="bg1"/>
                </a:solidFill>
              </a:rPr>
              <a:t>availability</a:t>
            </a:r>
            <a:endParaRPr lang="de-DE" sz="3200" dirty="0" smtClean="0">
              <a:solidFill>
                <a:schemeClr val="bg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-181923" y="1334830"/>
            <a:ext cx="9325923" cy="5392541"/>
          </a:xfrm>
          <a:prstGeom prst="rect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3518921" y="2656917"/>
            <a:ext cx="994153" cy="901623"/>
          </a:xfrm>
          <a:prstGeom prst="rect">
            <a:avLst/>
          </a:prstGeom>
          <a:solidFill>
            <a:srgbClr val="92D050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100" b="1" dirty="0" smtClean="0">
                <a:solidFill>
                  <a:schemeClr val="tx1"/>
                </a:solidFill>
              </a:rPr>
              <a:t>95,7 %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570" y="2026226"/>
            <a:ext cx="8159008" cy="3653669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295988" y="1552944"/>
            <a:ext cx="23793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 smtClean="0">
                <a:solidFill>
                  <a:schemeClr val="bg2"/>
                </a:solidFill>
                <a:latin typeface="+mn-lt"/>
              </a:rPr>
              <a:t>Zahlen größer und </a:t>
            </a:r>
            <a:endParaRPr lang="de-DE" sz="16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212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Rechteck 173"/>
          <p:cNvSpPr/>
          <p:nvPr/>
        </p:nvSpPr>
        <p:spPr>
          <a:xfrm>
            <a:off x="-181923" y="0"/>
            <a:ext cx="9325923" cy="3470988"/>
          </a:xfrm>
          <a:prstGeom prst="rect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295988" y="410065"/>
            <a:ext cx="8588932" cy="655308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 smtClean="0">
                <a:solidFill>
                  <a:schemeClr val="bg1"/>
                </a:solidFill>
              </a:rPr>
              <a:t>Festo Global Service Desk  / </a:t>
            </a:r>
            <a:r>
              <a:rPr lang="de-DE" sz="3200" dirty="0" err="1" smtClean="0">
                <a:solidFill>
                  <a:schemeClr val="bg1"/>
                </a:solidFill>
              </a:rPr>
              <a:t>current</a:t>
            </a:r>
            <a:r>
              <a:rPr lang="de-DE" sz="3200" dirty="0" smtClean="0">
                <a:solidFill>
                  <a:schemeClr val="bg1"/>
                </a:solidFill>
              </a:rPr>
              <a:t> </a:t>
            </a:r>
            <a:r>
              <a:rPr lang="de-DE" sz="3200" dirty="0" err="1" smtClean="0">
                <a:solidFill>
                  <a:schemeClr val="bg1"/>
                </a:solidFill>
              </a:rPr>
              <a:t>availability</a:t>
            </a:r>
            <a:endParaRPr lang="de-DE" sz="3200" dirty="0" smtClean="0">
              <a:solidFill>
                <a:schemeClr val="bg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-181923" y="1334830"/>
            <a:ext cx="9325923" cy="5392541"/>
          </a:xfrm>
          <a:prstGeom prst="rect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 smtClean="0">
              <a:solidFill>
                <a:schemeClr val="tx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952" y="1469114"/>
            <a:ext cx="7895004" cy="4823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8048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2">
  <a:themeElements>
    <a:clrScheme name="Festo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EBF6"/>
      </a:accent1>
      <a:accent2>
        <a:srgbClr val="CACCCC"/>
      </a:accent2>
      <a:accent3>
        <a:srgbClr val="969A9A"/>
      </a:accent3>
      <a:accent4>
        <a:srgbClr val="626666"/>
      </a:accent4>
      <a:accent5>
        <a:srgbClr val="000000"/>
      </a:accent5>
      <a:accent6>
        <a:srgbClr val="0091DC"/>
      </a:accent6>
      <a:hlink>
        <a:srgbClr val="000000"/>
      </a:hlink>
      <a:folHlink>
        <a:srgbClr val="969A9A"/>
      </a:folHlink>
    </a:clrScheme>
    <a:fontScheme name="MetaPlusLF">
      <a:majorFont>
        <a:latin typeface="MetaPlusLF"/>
        <a:ea typeface=""/>
        <a:cs typeface=""/>
      </a:majorFont>
      <a:minorFont>
        <a:latin typeface="MetaPlusLF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3175"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9</Words>
  <Application>Microsoft Office PowerPoint</Application>
  <PresentationFormat>Bildschirmpräsentation (4:3)</PresentationFormat>
  <Paragraphs>4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Calibri</vt:lpstr>
      <vt:lpstr>MetaPlusLF</vt:lpstr>
      <vt:lpstr>Wingdings</vt:lpstr>
      <vt:lpstr>Default Theme2</vt:lpstr>
      <vt:lpstr>think-cell Folie</vt:lpstr>
      <vt:lpstr>PowerPoint-Präsentation</vt:lpstr>
      <vt:lpstr>PowerPoint-Präsentation</vt:lpstr>
    </vt:vector>
  </TitlesOfParts>
  <Company>Festo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ung für Team-Event in Kaunas</dc:title>
  <dc:creator>Wieser, Bernd</dc:creator>
  <cp:lastModifiedBy>Wieser, Bernd</cp:lastModifiedBy>
  <cp:revision>541</cp:revision>
  <dcterms:created xsi:type="dcterms:W3CDTF">2014-07-21T09:53:48Z</dcterms:created>
  <dcterms:modified xsi:type="dcterms:W3CDTF">2014-11-13T15:03:06Z</dcterms:modified>
</cp:coreProperties>
</file>